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89"/>
  </p:notesMasterIdLst>
  <p:sldIdLst>
    <p:sldId id="2147472568" r:id="rId2"/>
    <p:sldId id="257" r:id="rId3"/>
    <p:sldId id="2147472572" r:id="rId4"/>
    <p:sldId id="778" r:id="rId5"/>
    <p:sldId id="2147472605" r:id="rId6"/>
    <p:sldId id="2147472606" r:id="rId7"/>
    <p:sldId id="2147472593" r:id="rId8"/>
    <p:sldId id="827" r:id="rId9"/>
    <p:sldId id="2147472473" r:id="rId10"/>
    <p:sldId id="2147472474" r:id="rId11"/>
    <p:sldId id="2147472478" r:id="rId12"/>
    <p:sldId id="2147376753" r:id="rId13"/>
    <p:sldId id="2147376755" r:id="rId14"/>
    <p:sldId id="2147376756" r:id="rId15"/>
    <p:sldId id="2147376757" r:id="rId16"/>
    <p:sldId id="2147376758" r:id="rId17"/>
    <p:sldId id="2147472543" r:id="rId18"/>
    <p:sldId id="2147472609" r:id="rId19"/>
    <p:sldId id="359" r:id="rId20"/>
    <p:sldId id="360" r:id="rId21"/>
    <p:sldId id="2147472607" r:id="rId22"/>
    <p:sldId id="2147472479" r:id="rId23"/>
    <p:sldId id="2147472480" r:id="rId24"/>
    <p:sldId id="2147472481" r:id="rId25"/>
    <p:sldId id="2147472482" r:id="rId26"/>
    <p:sldId id="2147472610" r:id="rId27"/>
    <p:sldId id="366" r:id="rId28"/>
    <p:sldId id="367" r:id="rId29"/>
    <p:sldId id="369" r:id="rId30"/>
    <p:sldId id="371" r:id="rId31"/>
    <p:sldId id="372" r:id="rId32"/>
    <p:sldId id="2147472617" r:id="rId33"/>
    <p:sldId id="2147472618" r:id="rId34"/>
    <p:sldId id="2147472619" r:id="rId35"/>
    <p:sldId id="2147472620" r:id="rId36"/>
    <p:sldId id="2147472621" r:id="rId37"/>
    <p:sldId id="2147472622" r:id="rId38"/>
    <p:sldId id="2147472623" r:id="rId39"/>
    <p:sldId id="2147472624" r:id="rId40"/>
    <p:sldId id="2147472625" r:id="rId41"/>
    <p:sldId id="2147472626" r:id="rId42"/>
    <p:sldId id="368" r:id="rId43"/>
    <p:sldId id="2147472628" r:id="rId44"/>
    <p:sldId id="2147472629" r:id="rId45"/>
    <p:sldId id="370" r:id="rId46"/>
    <p:sldId id="2147472616" r:id="rId47"/>
    <p:sldId id="511" r:id="rId48"/>
    <p:sldId id="512" r:id="rId49"/>
    <p:sldId id="2147376724" r:id="rId50"/>
    <p:sldId id="2147472611" r:id="rId51"/>
    <p:sldId id="515" r:id="rId52"/>
    <p:sldId id="516" r:id="rId53"/>
    <p:sldId id="517" r:id="rId54"/>
    <p:sldId id="518" r:id="rId55"/>
    <p:sldId id="519" r:id="rId56"/>
    <p:sldId id="520" r:id="rId57"/>
    <p:sldId id="2147376725" r:id="rId58"/>
    <p:sldId id="2147472630" r:id="rId59"/>
    <p:sldId id="2147472612" r:id="rId60"/>
    <p:sldId id="523" r:id="rId61"/>
    <p:sldId id="524" r:id="rId62"/>
    <p:sldId id="525" r:id="rId63"/>
    <p:sldId id="526" r:id="rId64"/>
    <p:sldId id="527" r:id="rId65"/>
    <p:sldId id="528" r:id="rId66"/>
    <p:sldId id="529" r:id="rId67"/>
    <p:sldId id="530" r:id="rId68"/>
    <p:sldId id="2147376726" r:id="rId69"/>
    <p:sldId id="2147472631" r:id="rId70"/>
    <p:sldId id="2147472613" r:id="rId71"/>
    <p:sldId id="532" r:id="rId72"/>
    <p:sldId id="533" r:id="rId73"/>
    <p:sldId id="534" r:id="rId74"/>
    <p:sldId id="2147376727" r:id="rId75"/>
    <p:sldId id="2147472614" r:id="rId76"/>
    <p:sldId id="535" r:id="rId77"/>
    <p:sldId id="536" r:id="rId78"/>
    <p:sldId id="537" r:id="rId79"/>
    <p:sldId id="538" r:id="rId80"/>
    <p:sldId id="2147376728" r:id="rId81"/>
    <p:sldId id="2147472632" r:id="rId82"/>
    <p:sldId id="2147472615" r:id="rId83"/>
    <p:sldId id="541" r:id="rId84"/>
    <p:sldId id="542" r:id="rId85"/>
    <p:sldId id="543" r:id="rId86"/>
    <p:sldId id="2147472608" r:id="rId87"/>
    <p:sldId id="269" r:id="rId88"/>
  </p:sldIdLst>
  <p:sldSz cx="9144000" cy="5143500" type="screen16x9"/>
  <p:notesSz cx="6858000" cy="9144000"/>
  <p:embeddedFontLst>
    <p:embeddedFont>
      <p:font typeface="Helvetica Neue Light" panose="020B0604020202020204" charset="0"/>
      <p:regular r:id="rId90"/>
      <p:bold r:id="rId91"/>
      <p:italic r:id="rId92"/>
      <p:boldItalic r:id="rId93"/>
    </p:embeddedFont>
    <p:embeddedFont>
      <p:font typeface="Montserrat" panose="00000500000000000000" pitchFamily="2" charset="0"/>
      <p:regular r:id="rId94"/>
      <p:bold r:id="rId95"/>
      <p:italic r:id="rId96"/>
      <p:boldItalic r:id="rId97"/>
    </p:embeddedFont>
    <p:embeddedFont>
      <p:font typeface="Montserrat Medium" panose="00000600000000000000" pitchFamily="2" charset="0"/>
      <p:regular r:id="rId98"/>
      <p:bold r:id="rId99"/>
      <p:italic r:id="rId100"/>
      <p:boldItalic r:id="rId101"/>
    </p:embeddedFont>
    <p:embeddedFont>
      <p:font typeface="Trebuchet MS" panose="020B0603020202020204" pitchFamily="34" charset="0"/>
      <p:regular r:id="rId102"/>
      <p:bold r:id="rId103"/>
      <p:italic r:id="rId104"/>
      <p:boldItalic r:id="rId10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viewProps" Target="viewProps.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font" Target="fonts/font13.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1.fntdata"/><Relationship Id="rId95" Type="http://schemas.openxmlformats.org/officeDocument/2006/relationships/font" Target="fonts/font6.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font" Target="fonts/font11.fntdata"/><Relationship Id="rId105" Type="http://schemas.openxmlformats.org/officeDocument/2006/relationships/font" Target="fonts/font16.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font" Target="fonts/font4.fntdata"/><Relationship Id="rId98" Type="http://schemas.openxmlformats.org/officeDocument/2006/relationships/font" Target="fonts/font9.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font" Target="fonts/font14.fntdata"/><Relationship Id="rId108"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font" Target="fonts/font2.fntdata"/><Relationship Id="rId96"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font" Target="fonts/font5.fntdata"/><Relationship Id="rId99" Type="http://schemas.openxmlformats.org/officeDocument/2006/relationships/font" Target="fonts/font10.fntdata"/><Relationship Id="rId101"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8.fntdata"/><Relationship Id="rId104" Type="http://schemas.openxmlformats.org/officeDocument/2006/relationships/font" Target="fonts/font15.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3.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4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25EDDB65-D617-E5C7-9A3D-C92DC00384C7}"/>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53984746-9D61-FD6B-33A8-1DBD1151205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3A63A5A-8EAD-6ACA-1A35-E41B844E9D7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9504985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6E8C555C-2A51-0653-5A70-00D1542B6556}"/>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DB5F45CA-D119-3CDF-42B7-C53C45003C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425ACF5-161E-C4A7-8C13-30024689564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161267818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553A7428-D4BF-DB6F-077F-B440131973E8}"/>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3100750-092D-2C55-A9F5-C974287AE1D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F339071B-7D58-4837-973D-AD47DEA7598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2955826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9.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7.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4.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1.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5.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8.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4.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4.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8.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5.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79.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0.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67.png"/><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extLst>
      <p:ext uri="{BB962C8B-B14F-4D97-AF65-F5344CB8AC3E}">
        <p14:creationId xmlns:p14="http://schemas.microsoft.com/office/powerpoint/2010/main" val="25480766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Native AWS services supporting CI/C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Using GitLab CI with AWS</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9</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0</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0</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1</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Provides a comprehensive set of potential attack vectors to consider in multiple areas of focus</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lso, provides information on examples of the attack, mitigation strategies, and detection strategies</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p:cNvSpPr txBox="1"/>
          <p:nvPr/>
        </p:nvSpPr>
        <p:spPr>
          <a:xfrm>
            <a:off x="3786996" y="1046266"/>
            <a:ext cx="4572000" cy="215439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breakout room, review the </a:t>
            </a:r>
            <a:r>
              <a:rPr lang="en-US" sz="1000" dirty="0">
                <a:solidFill>
                  <a:srgbClr val="D4D4D4"/>
                </a:solidFill>
              </a:rPr>
              <a:t>assigned scenario. Complete the following:</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Review the scenario</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Identify critical assets in scop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Create a high-level system architecture diagram</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Assess the internal and external threat landscape – brainstorm, discuss, and document as many potential threats and attack vectors that you see in the defined architecture (use STRIDE and </a:t>
            </a:r>
            <a:r>
              <a:rPr lang="en-US" sz="1000" dirty="0" err="1">
                <a:solidFill>
                  <a:srgbClr val="D4D4D4"/>
                </a:solidFill>
              </a:rPr>
              <a:t>Mitre</a:t>
            </a:r>
            <a:r>
              <a:rPr lang="en-US" sz="1000" dirty="0">
                <a:solidFill>
                  <a:srgbClr val="D4D4D4"/>
                </a:solidFill>
              </a:rPr>
              <a:t> ATT&amp;CK to assist)</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kind of monitoring would you recommend?</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Finally, as a team, prioritize each potential threat relative to the others by assessing risk vs. impact</a:t>
            </a: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marR="0" lvl="0" algn="l" rtl="0">
              <a:lnSpc>
                <a:spcPct val="100000"/>
              </a:lnSpc>
              <a:spcBef>
                <a:spcPts val="0"/>
              </a:spcBef>
              <a:spcAft>
                <a:spcPts val="0"/>
              </a:spcAft>
              <a:buClr>
                <a:schemeClr val="bg1"/>
              </a:buClr>
            </a:pPr>
            <a:endParaRPr lang="en-US" dirty="0"/>
          </a:p>
        </p:txBody>
      </p:sp>
      <p:sp>
        <p:nvSpPr>
          <p:cNvPr id="1297" name="Google Shape;1297;p112"/>
          <p:cNvSpPr txBox="1"/>
          <p:nvPr/>
        </p:nvSpPr>
        <p:spPr>
          <a:xfrm>
            <a:off x="3786996" y="2854118"/>
            <a:ext cx="4572000"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n't forget to include the following considerations:</a:t>
            </a:r>
            <a:br>
              <a:rPr lang="en-US" sz="1000" b="0" i="0" u="none" strike="noStrike" cap="none" dirty="0">
                <a:solidFill>
                  <a:srgbClr val="D4D4D4"/>
                </a:solidFill>
                <a:latin typeface="Arial"/>
                <a:ea typeface="Arial"/>
                <a:cs typeface="Arial"/>
                <a:sym typeface="Arial"/>
              </a:rPr>
            </a:b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lang="en-US" sz="1000" b="0" i="0" u="none" strike="noStrike" cap="none" dirty="0">
              <a:solidFill>
                <a:srgbClr val="D4D4D4"/>
              </a:solidFill>
              <a:latin typeface="Arial"/>
              <a:ea typeface="Arial"/>
              <a:cs typeface="Arial"/>
              <a:sym typeface="Arial"/>
            </a:endParaRPr>
          </a:p>
          <a:p>
            <a:pPr marR="0" lvl="0" algn="l" rtl="0">
              <a:lnSpc>
                <a:spcPct val="100000"/>
              </a:lnSpc>
              <a:spcBef>
                <a:spcPts val="0"/>
              </a:spcBef>
              <a:spcAft>
                <a:spcPts val="0"/>
              </a:spcAft>
              <a:buClr>
                <a:schemeClr val="lt1"/>
              </a:buClr>
              <a:buSzPts val="1000"/>
            </a:pPr>
            <a:r>
              <a:rPr lang="en-US" sz="1000" dirty="0">
                <a:solidFill>
                  <a:srgbClr val="D4D4D4"/>
                </a:solidFill>
              </a:rPr>
              <a:t>Each team will present their architecture diagram and their prioritized list of potential threats/attack vectors to the larger group.</a:t>
            </a:r>
            <a:endParaRPr sz="1000" b="0" i="0" u="none" strike="noStrike" cap="none" dirty="0">
              <a:solidFill>
                <a:srgbClr val="D4D4D4"/>
              </a:solidFill>
              <a:latin typeface="Arial"/>
              <a:ea typeface="Arial"/>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7</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1</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7</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33005807-DEE0-21D5-8610-A17B7201FE31}"/>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5DC7D313-F723-FC82-6C7C-70221812D741}"/>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3E07DC8-9DF5-8749-210D-31D9103B16A6}"/>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Develop &amp; Build</a:t>
            </a:r>
            <a:endParaRPr dirty="0"/>
          </a:p>
        </p:txBody>
      </p:sp>
      <p:sp>
        <p:nvSpPr>
          <p:cNvPr id="1295" name="Google Shape;1295;p112">
            <a:extLst>
              <a:ext uri="{FF2B5EF4-FFF2-40B4-BE49-F238E27FC236}">
                <a16:creationId xmlns:a16="http://schemas.microsoft.com/office/drawing/2014/main" id="{04984DF5-D6C6-2B6F-8BE6-2B6D80931CF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
        <p:nvSpPr>
          <p:cNvPr id="1296" name="Google Shape;1296;p112">
            <a:extLst>
              <a:ext uri="{FF2B5EF4-FFF2-40B4-BE49-F238E27FC236}">
                <a16:creationId xmlns:a16="http://schemas.microsoft.com/office/drawing/2014/main" id="{0A695628-FBB7-47D6-E5B5-9CDD32D2D205}"/>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develop/build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712179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0</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7</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8</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08B4FE79-2026-1B54-BC7C-903C1144CAC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7311F1F-7E01-E3CE-336D-6BB7E81AD7A9}"/>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1DA284B6-B730-8715-F341-BCE1D31196F4}"/>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Test</a:t>
            </a:r>
            <a:endParaRPr dirty="0"/>
          </a:p>
        </p:txBody>
      </p:sp>
      <p:sp>
        <p:nvSpPr>
          <p:cNvPr id="1295" name="Google Shape;1295;p112">
            <a:extLst>
              <a:ext uri="{FF2B5EF4-FFF2-40B4-BE49-F238E27FC236}">
                <a16:creationId xmlns:a16="http://schemas.microsoft.com/office/drawing/2014/main" id="{FF985CA9-E75A-8CFD-AAFB-ED8539E9B88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
        <p:nvSpPr>
          <p:cNvPr id="1296" name="Google Shape;1296;p112">
            <a:extLst>
              <a:ext uri="{FF2B5EF4-FFF2-40B4-BE49-F238E27FC236}">
                <a16:creationId xmlns:a16="http://schemas.microsoft.com/office/drawing/2014/main" id="{9B07E52C-2E58-03A8-B8D1-24E2E2DB6257}"/>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test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36259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1</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3</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6</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8</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9</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80</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4195F32-21BA-A8BC-1E46-7BBE00AADC6B}"/>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FA8E6EB7-69C2-C6A5-B67B-AE43B0BDDCC6}"/>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D8748953-6DE0-AFA4-7D0B-A889D2F700BD}"/>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Release &amp; Operate</a:t>
            </a:r>
            <a:endParaRPr dirty="0"/>
          </a:p>
        </p:txBody>
      </p:sp>
      <p:sp>
        <p:nvSpPr>
          <p:cNvPr id="1295" name="Google Shape;1295;p112">
            <a:extLst>
              <a:ext uri="{FF2B5EF4-FFF2-40B4-BE49-F238E27FC236}">
                <a16:creationId xmlns:a16="http://schemas.microsoft.com/office/drawing/2014/main" id="{875B6A69-5371-BE0A-5CC2-03188340F19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
        <p:nvSpPr>
          <p:cNvPr id="1296" name="Google Shape;1296;p112">
            <a:extLst>
              <a:ext uri="{FF2B5EF4-FFF2-40B4-BE49-F238E27FC236}">
                <a16:creationId xmlns:a16="http://schemas.microsoft.com/office/drawing/2014/main" id="{96DD42D2-F889-56FD-21A8-9C6D79A99A52}"/>
              </a:ext>
            </a:extLst>
          </p:cNvPr>
          <p:cNvSpPr txBox="1"/>
          <p:nvPr/>
        </p:nvSpPr>
        <p:spPr>
          <a:xfrm>
            <a:off x="3895150" y="1745860"/>
            <a:ext cx="4572000" cy="240061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release &amp; operate phases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ese phases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23051932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3</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4</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5</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6</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002</TotalTime>
  <Words>4652</Words>
  <Application>Microsoft Office PowerPoint</Application>
  <PresentationFormat>On-screen Show (16:9)</PresentationFormat>
  <Paragraphs>609</Paragraphs>
  <Slides>87</Slides>
  <Notes>8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7" baseType="lpstr">
      <vt:lpstr>Wingdings</vt:lpstr>
      <vt:lpstr>Arial</vt:lpstr>
      <vt:lpstr>Montserrat Medium</vt:lpstr>
      <vt:lpstr>Montserrat</vt:lpstr>
      <vt:lpstr>Calibri</vt:lpstr>
      <vt:lpstr>Courier New</vt:lpstr>
      <vt:lpstr>Trebuchet MS</vt:lpstr>
      <vt:lpstr>Helvetica Neue Light</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LAB:</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LAB:</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LAB:</vt:lpstr>
      <vt:lpstr>Additional Considerations</vt:lpstr>
      <vt:lpstr>Other Key Considerations - SAST</vt:lpstr>
      <vt:lpstr>Other Key Considerations - Containers</vt:lpstr>
      <vt:lpstr>Other Key Considerations – Sensitive Config</vt:lpstr>
      <vt:lpstr>Key Benefits of DevSecOps (In Summary)</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277</cp:revision>
  <dcterms:modified xsi:type="dcterms:W3CDTF">2025-01-26T23:43:03Z</dcterms:modified>
</cp:coreProperties>
</file>